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5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Zlínský kraj</c:v>
                </c:pt>
                <c:pt idx="4">
                  <c:v>Jihomoravský kraj</c:v>
                </c:pt>
                <c:pt idx="5">
                  <c:v>Plzeňský kraj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ČR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61616161616099996</c:v>
                </c:pt>
                <c:pt idx="1">
                  <c:v>0.482993197278</c:v>
                </c:pt>
                <c:pt idx="2">
                  <c:v>0.48290598290499998</c:v>
                </c:pt>
                <c:pt idx="3">
                  <c:v>0.44915254237199997</c:v>
                </c:pt>
                <c:pt idx="4">
                  <c:v>0.40102827763400001</c:v>
                </c:pt>
                <c:pt idx="5">
                  <c:v>0.388392857142</c:v>
                </c:pt>
                <c:pt idx="6">
                  <c:v>0.38400000000000001</c:v>
                </c:pt>
                <c:pt idx="7">
                  <c:v>0.37</c:v>
                </c:pt>
                <c:pt idx="8">
                  <c:v>0.328657314629</c:v>
                </c:pt>
                <c:pt idx="9">
                  <c:v>0.31344995698299999</c:v>
                </c:pt>
                <c:pt idx="10">
                  <c:v>0.30434782608599997</c:v>
                </c:pt>
                <c:pt idx="11">
                  <c:v>0.26500000000000001</c:v>
                </c:pt>
                <c:pt idx="12">
                  <c:v>0.25196850393699999</c:v>
                </c:pt>
                <c:pt idx="13">
                  <c:v>0.16867469879499999</c:v>
                </c:pt>
                <c:pt idx="14">
                  <c:v>0.12993630573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4A-46B6-8BD6-64EBF669B884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Jihomoravský kraj</c:v>
                </c:pt>
                <c:pt idx="3">
                  <c:v>Středočeský kraj</c:v>
                </c:pt>
                <c:pt idx="4">
                  <c:v>Jihočeský kraj</c:v>
                </c:pt>
                <c:pt idx="5">
                  <c:v>Plzeňs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Ústecký kraj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387096774100002</c:v>
                </c:pt>
                <c:pt idx="1">
                  <c:v>0.44927536231800003</c:v>
                </c:pt>
                <c:pt idx="2">
                  <c:v>0.36764705882299997</c:v>
                </c:pt>
                <c:pt idx="3">
                  <c:v>0.31304347826000001</c:v>
                </c:pt>
                <c:pt idx="4">
                  <c:v>0.3125</c:v>
                </c:pt>
                <c:pt idx="5">
                  <c:v>0.30303030303</c:v>
                </c:pt>
                <c:pt idx="6">
                  <c:v>0.23624595469199999</c:v>
                </c:pt>
                <c:pt idx="7">
                  <c:v>0.234765234765</c:v>
                </c:pt>
                <c:pt idx="8">
                  <c:v>0.23225806451600001</c:v>
                </c:pt>
                <c:pt idx="9">
                  <c:v>0.22784810126499999</c:v>
                </c:pt>
                <c:pt idx="10">
                  <c:v>0.226086956521</c:v>
                </c:pt>
                <c:pt idx="11">
                  <c:v>0.2</c:v>
                </c:pt>
                <c:pt idx="12">
                  <c:v>0.19298245614000001</c:v>
                </c:pt>
                <c:pt idx="13">
                  <c:v>0.1395348837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24-4795-AF96-EB28975A58F7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Středoče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4527872582</c:v>
                </c:pt>
                <c:pt idx="1">
                  <c:v>0.33742331288299998</c:v>
                </c:pt>
                <c:pt idx="2">
                  <c:v>0.30599755201899997</c:v>
                </c:pt>
                <c:pt idx="3">
                  <c:v>0.30540242557800001</c:v>
                </c:pt>
                <c:pt idx="4">
                  <c:v>0.29856584093799998</c:v>
                </c:pt>
                <c:pt idx="5">
                  <c:v>0.26069246435799998</c:v>
                </c:pt>
                <c:pt idx="6">
                  <c:v>0.23976261127500001</c:v>
                </c:pt>
                <c:pt idx="7">
                  <c:v>0.223804546642</c:v>
                </c:pt>
                <c:pt idx="8">
                  <c:v>0.22079937912299999</c:v>
                </c:pt>
                <c:pt idx="9">
                  <c:v>0.18518518518499999</c:v>
                </c:pt>
                <c:pt idx="10">
                  <c:v>0.17286652078699999</c:v>
                </c:pt>
                <c:pt idx="11">
                  <c:v>0.165368271954</c:v>
                </c:pt>
                <c:pt idx="12">
                  <c:v>0.15550239234400001</c:v>
                </c:pt>
                <c:pt idx="13">
                  <c:v>0.12675616609400001</c:v>
                </c:pt>
                <c:pt idx="14">
                  <c:v>0.122703894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118493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8707080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950994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ouharová Anna Bc.</cp:lastModifiedBy>
  <cp:revision>11</cp:revision>
  <dcterms:created xsi:type="dcterms:W3CDTF">2021-10-29T17:14:18Z</dcterms:created>
  <dcterms:modified xsi:type="dcterms:W3CDTF">2021-11-11T18:18:22Z</dcterms:modified>
</cp:coreProperties>
</file>